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9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0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1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32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3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34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35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36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1"/>
  </p:notesMasterIdLst>
  <p:handoutMasterIdLst>
    <p:handoutMasterId r:id="rId42"/>
  </p:handoutMasterIdLst>
  <p:sldIdLst>
    <p:sldId id="530" r:id="rId2"/>
    <p:sldId id="646" r:id="rId3"/>
    <p:sldId id="633" r:id="rId4"/>
    <p:sldId id="662" r:id="rId5"/>
    <p:sldId id="656" r:id="rId6"/>
    <p:sldId id="657" r:id="rId7"/>
    <p:sldId id="658" r:id="rId8"/>
    <p:sldId id="659" r:id="rId9"/>
    <p:sldId id="660" r:id="rId10"/>
    <p:sldId id="661" r:id="rId11"/>
    <p:sldId id="650" r:id="rId12"/>
    <p:sldId id="648" r:id="rId13"/>
    <p:sldId id="663" r:id="rId14"/>
    <p:sldId id="664" r:id="rId15"/>
    <p:sldId id="665" r:id="rId16"/>
    <p:sldId id="666" r:id="rId17"/>
    <p:sldId id="669" r:id="rId18"/>
    <p:sldId id="670" r:id="rId19"/>
    <p:sldId id="671" r:id="rId20"/>
    <p:sldId id="675" r:id="rId21"/>
    <p:sldId id="673" r:id="rId22"/>
    <p:sldId id="676" r:id="rId23"/>
    <p:sldId id="677" r:id="rId24"/>
    <p:sldId id="689" r:id="rId25"/>
    <p:sldId id="690" r:id="rId26"/>
    <p:sldId id="691" r:id="rId27"/>
    <p:sldId id="692" r:id="rId28"/>
    <p:sldId id="693" r:id="rId29"/>
    <p:sldId id="678" r:id="rId30"/>
    <p:sldId id="679" r:id="rId31"/>
    <p:sldId id="680" r:id="rId32"/>
    <p:sldId id="684" r:id="rId33"/>
    <p:sldId id="681" r:id="rId34"/>
    <p:sldId id="682" r:id="rId35"/>
    <p:sldId id="683" r:id="rId36"/>
    <p:sldId id="688" r:id="rId37"/>
    <p:sldId id="685" r:id="rId38"/>
    <p:sldId id="686" r:id="rId39"/>
    <p:sldId id="687" r:id="rId40"/>
  </p:sldIdLst>
  <p:sldSz cx="9144000" cy="5332413"/>
  <p:notesSz cx="7315200" cy="9601200"/>
  <p:custDataLst>
    <p:tags r:id="rId4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8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CCFF33"/>
    <a:srgbClr val="CC0099"/>
    <a:srgbClr val="A50021"/>
    <a:srgbClr val="CC3300"/>
    <a:srgbClr val="009999"/>
    <a:srgbClr val="FFFF00"/>
    <a:srgbClr val="008000"/>
    <a:srgbClr val="339966"/>
    <a:srgbClr val="658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com Tema 1 - Ênfas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Estilo E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35" autoAdjust="0"/>
    <p:restoredTop sz="94660"/>
  </p:normalViewPr>
  <p:slideViewPr>
    <p:cSldViewPr>
      <p:cViewPr>
        <p:scale>
          <a:sx n="70" d="100"/>
          <a:sy n="70" d="100"/>
        </p:scale>
        <p:origin x="-1278" y="-504"/>
      </p:cViewPr>
      <p:guideLst>
        <p:guide orient="horz" pos="168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D4EF99-F346-47ED-8514-170221913659}" type="datetime1">
              <a:rPr lang="pt-BR" smtClean="0"/>
              <a:t>10/12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pt-BR"/>
              <a:t>07/05/2018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A33187-A6A2-4EAD-BB1F-3F85066FD9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7949854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F2BB51E-5A7F-454A-8050-4B2C8D158116}" type="datetime1">
              <a:rPr lang="pt-BR" smtClean="0"/>
              <a:t>10/12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571500" y="720725"/>
            <a:ext cx="61722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r>
              <a:rPr lang="pt-BR"/>
              <a:t>07/05/2018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5E50FD4-8678-487F-8B67-8AB3B106C27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269502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819013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7511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334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26073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1067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8544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91088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0064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309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54720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0487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65162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15529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16385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210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67978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7830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7891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  <p:sp>
        <p:nvSpPr>
          <p:cNvPr id="717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7ABB0-C9F7-4E12-8983-6213633F9065}" type="slidenum">
              <a:rPr kumimoji="0" lang="pt-BR" alt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alt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9536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683568" y="482615"/>
            <a:ext cx="7704856" cy="1847655"/>
          </a:xfrm>
        </p:spPr>
        <p:txBody>
          <a:bodyPr/>
          <a:lstStyle>
            <a:lvl1pPr algn="r">
              <a:defRPr b="1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83568" y="2722197"/>
            <a:ext cx="5256584" cy="1455729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355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6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2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8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3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233985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845448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01549-86F1-F94A-8B17-371151A8FAEC}" type="datetimeFigureOut">
              <a:rPr lang="pt-BR" smtClean="0"/>
              <a:t>10/1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A5135-7850-BC42-A561-A23D2756737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3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12" Type="http://schemas.microsoft.com/office/2007/relationships/hdphoto" Target="../media/hdphoto4.wdp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microsoft.com/office/2007/relationships/hdphoto" Target="../media/hdphoto6.wdp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4.png"/><Relationship Id="rId5" Type="http://schemas.openxmlformats.org/officeDocument/2006/relationships/image" Target="../media/image1.png"/><Relationship Id="rId15" Type="http://schemas.openxmlformats.org/officeDocument/2006/relationships/image" Target="../media/image6.png"/><Relationship Id="rId10" Type="http://schemas.microsoft.com/office/2007/relationships/hdphoto" Target="../media/hdphoto3.wdp"/><Relationship Id="rId4" Type="http://schemas.openxmlformats.org/officeDocument/2006/relationships/theme" Target="../theme/theme1.xml"/><Relationship Id="rId9" Type="http://schemas.openxmlformats.org/officeDocument/2006/relationships/image" Target="../media/image3.png"/><Relationship Id="rId14" Type="http://schemas.microsoft.com/office/2007/relationships/hdphoto" Target="../media/hdphoto5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13544"/>
            <a:ext cx="8229600" cy="88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/>
              <a:t>Clique para editar o estilo do título mestre</a:t>
            </a:r>
          </a:p>
        </p:txBody>
      </p:sp>
      <p:sp>
        <p:nvSpPr>
          <p:cNvPr id="1028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244230"/>
            <a:ext cx="8229600" cy="351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942357"/>
            <a:ext cx="2133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942357"/>
            <a:ext cx="2895600" cy="283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grpSp>
        <p:nvGrpSpPr>
          <p:cNvPr id="2" name="Grupo 1"/>
          <p:cNvGrpSpPr/>
          <p:nvPr userDrawn="1"/>
        </p:nvGrpSpPr>
        <p:grpSpPr>
          <a:xfrm>
            <a:off x="-23812" y="73918"/>
            <a:ext cx="1042382" cy="1278969"/>
            <a:chOff x="-63991" y="73918"/>
            <a:chExt cx="1042382" cy="1278969"/>
          </a:xfrm>
        </p:grpSpPr>
        <p:grpSp>
          <p:nvGrpSpPr>
            <p:cNvPr id="24" name="Grupo 7"/>
            <p:cNvGrpSpPr/>
            <p:nvPr/>
          </p:nvGrpSpPr>
          <p:grpSpPr>
            <a:xfrm rot="5400000">
              <a:off x="-182284" y="192213"/>
              <a:ext cx="1278969" cy="1042380"/>
              <a:chOff x="196687" y="3762110"/>
              <a:chExt cx="2036705" cy="1659947"/>
            </a:xfrm>
          </p:grpSpPr>
          <p:pic>
            <p:nvPicPr>
              <p:cNvPr id="28" name="Imagem 27"/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0" b="98856" l="348" r="86609">
                            <a14:foregroundMark x1="21391" y1="12764" x2="21391" y2="1276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29" name="Imagem 28"/>
              <p:cNvPicPr>
                <a:picLocks noChangeAspect="1"/>
              </p:cNvPicPr>
              <p:nvPr/>
            </p:nvPicPr>
            <p:blipFill rotWithShape="1">
              <a:blip r:embed="rId7" cstate="email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2064" b="100000" l="0" r="98775">
                            <a14:foregroundMark x1="49265" y1="15607" x2="49265" y2="156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30" name="Imagem 29"/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31" name="Imagem 30"/>
              <p:cNvPicPr>
                <a:picLocks noChangeAspect="1"/>
              </p:cNvPicPr>
              <p:nvPr/>
            </p:nvPicPr>
            <p:blipFill rotWithShape="1">
              <a:blip r:embed="rId11" cstate="email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32" name="Imagem 31"/>
              <p:cNvPicPr>
                <a:picLocks noChangeAspect="1"/>
              </p:cNvPicPr>
              <p:nvPr/>
            </p:nvPicPr>
            <p:blipFill rotWithShape="1">
              <a:blip r:embed="rId13" cstate="email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33" name="Imagem 32"/>
              <p:cNvPicPr>
                <a:picLocks noChangeAspect="1"/>
              </p:cNvPicPr>
              <p:nvPr/>
            </p:nvPicPr>
            <p:blipFill rotWithShape="1">
              <a:blip r:embed="rId15" cstate="email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4433" b="100000" l="0" r="98775">
                            <a14:foregroundMark x1="49265" y1="33511" x2="49265" y2="335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25" name="Imagem 24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6029"/>
            <a:stretch/>
          </p:blipFill>
          <p:spPr>
            <a:xfrm rot="5400000">
              <a:off x="-76909" y="262317"/>
              <a:ext cx="368152" cy="342313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97"/>
            <a:stretch/>
          </p:blipFill>
          <p:spPr>
            <a:xfrm rot="5400000">
              <a:off x="34184" y="645310"/>
              <a:ext cx="368152" cy="564502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/>
          </p:nvPicPr>
          <p:blipFill rotWithShape="1">
            <a:blip r:embed="rId13" cstate="email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360"/>
            <a:stretch/>
          </p:blipFill>
          <p:spPr>
            <a:xfrm rot="5400000">
              <a:off x="126608" y="597513"/>
              <a:ext cx="431839" cy="788486"/>
            </a:xfrm>
            <a:prstGeom prst="rect">
              <a:avLst/>
            </a:prstGeom>
          </p:spPr>
        </p:pic>
      </p:grpSp>
      <p:pic>
        <p:nvPicPr>
          <p:cNvPr id="18" name="Picture 2" descr="http://intranet.fieb.org.br/corporativo/comunicacao/Marcas%20do%20Sistema/SENAI%20CIMATEC/LOGO%202017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081" y="249398"/>
            <a:ext cx="1919367" cy="58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996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8" r:id="rId2"/>
    <p:sldLayoutId id="2147483669" r:id="rId3"/>
  </p:sldLayoutIdLst>
  <p:txStyles>
    <p:titleStyle>
      <a:lvl1pPr algn="l" rtl="0" fontAlgn="base">
        <a:spcBef>
          <a:spcPct val="0"/>
        </a:spcBef>
        <a:spcAft>
          <a:spcPct val="0"/>
        </a:spcAft>
        <a:defRPr sz="3200" kern="1200">
          <a:solidFill>
            <a:srgbClr val="737373"/>
          </a:solidFill>
          <a:latin typeface="HelveticaNeueLT Pro 67 MdCn" panose="020B0606030502030204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5pPr>
      <a:lvl6pPr marL="355473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6pPr>
      <a:lvl7pPr marL="710946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7pPr>
      <a:lvl8pPr marL="1066419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8pPr>
      <a:lvl9pPr marL="1421892" algn="l" rtl="0" fontAlgn="base">
        <a:spcBef>
          <a:spcPct val="0"/>
        </a:spcBef>
        <a:spcAft>
          <a:spcPct val="0"/>
        </a:spcAft>
        <a:defRPr sz="3421">
          <a:solidFill>
            <a:schemeClr val="tx1"/>
          </a:solidFill>
          <a:latin typeface="Century Gothic" pitchFamily="34" charset="0"/>
        </a:defRPr>
      </a:lvl9pPr>
    </p:titleStyle>
    <p:bodyStyle>
      <a:lvl1pPr marL="266605" indent="-266605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88" kern="1200">
          <a:solidFill>
            <a:schemeClr val="tx1"/>
          </a:solidFill>
          <a:latin typeface="+mn-lt"/>
          <a:ea typeface="+mn-ea"/>
          <a:cs typeface="+mn-cs"/>
        </a:defRPr>
      </a:lvl1pPr>
      <a:lvl2pPr marL="577644" indent="-222171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888683" indent="-177737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244156" indent="-177737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555" kern="1200">
          <a:solidFill>
            <a:schemeClr val="tx1"/>
          </a:solidFill>
          <a:latin typeface="+mn-lt"/>
          <a:ea typeface="+mn-ea"/>
          <a:cs typeface="+mn-cs"/>
        </a:defRPr>
      </a:lvl4pPr>
      <a:lvl5pPr marL="1599629" indent="-177737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555" kern="1200">
          <a:solidFill>
            <a:schemeClr val="tx1"/>
          </a:solidFill>
          <a:latin typeface="+mn-lt"/>
          <a:ea typeface="+mn-ea"/>
          <a:cs typeface="+mn-cs"/>
        </a:defRPr>
      </a:lvl5pPr>
      <a:lvl6pPr marL="1955102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6pPr>
      <a:lvl7pPr marL="2310575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7pPr>
      <a:lvl8pPr marL="2666048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8pPr>
      <a:lvl9pPr marL="3021521" indent="-177737" algn="l" defTabSz="710946" rtl="0" eaLnBrk="1" latinLnBrk="0" hangingPunct="1">
        <a:spcBef>
          <a:spcPct val="20000"/>
        </a:spcBef>
        <a:buFont typeface="Arial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473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946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419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892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7365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838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8311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3784" algn="l" defTabSz="71094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3.png"/><Relationship Id="rId18" Type="http://schemas.microsoft.com/office/2007/relationships/hdphoto" Target="../media/hdphoto6.wdp"/><Relationship Id="rId3" Type="http://schemas.openxmlformats.org/officeDocument/2006/relationships/image" Target="../media/image5.png"/><Relationship Id="rId7" Type="http://schemas.openxmlformats.org/officeDocument/2006/relationships/image" Target="../media/image10.jpeg"/><Relationship Id="rId12" Type="http://schemas.microsoft.com/office/2007/relationships/hdphoto" Target="../media/hdphoto2.wdp"/><Relationship Id="rId1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6" Type="http://schemas.microsoft.com/office/2007/relationships/hdphoto" Target="../media/hdphoto4.wdp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2.png"/><Relationship Id="rId5" Type="http://schemas.openxmlformats.org/officeDocument/2006/relationships/image" Target="../media/image8.jpeg"/><Relationship Id="rId15" Type="http://schemas.openxmlformats.org/officeDocument/2006/relationships/image" Target="../media/image4.png"/><Relationship Id="rId10" Type="http://schemas.microsoft.com/office/2007/relationships/hdphoto" Target="../media/hdphoto1.wdp"/><Relationship Id="rId19" Type="http://schemas.openxmlformats.org/officeDocument/2006/relationships/image" Target="../media/image7.png"/><Relationship Id="rId4" Type="http://schemas.microsoft.com/office/2007/relationships/hdphoto" Target="../media/hdphoto5.wdp"/><Relationship Id="rId9" Type="http://schemas.openxmlformats.org/officeDocument/2006/relationships/image" Target="../media/image1.png"/><Relationship Id="rId14" Type="http://schemas.microsoft.com/office/2007/relationships/hdphoto" Target="../media/hdphoto3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4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emf"/><Relationship Id="rId5" Type="http://schemas.openxmlformats.org/officeDocument/2006/relationships/image" Target="../media/image35.pn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emf"/><Relationship Id="rId5" Type="http://schemas.openxmlformats.org/officeDocument/2006/relationships/image" Target="../media/image37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emf"/><Relationship Id="rId5" Type="http://schemas.openxmlformats.org/officeDocument/2006/relationships/image" Target="../media/image39.png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2.emf"/><Relationship Id="rId5" Type="http://schemas.openxmlformats.org/officeDocument/2006/relationships/image" Target="../media/image41.png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1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53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5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emf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emf"/><Relationship Id="rId5" Type="http://schemas.openxmlformats.org/officeDocument/2006/relationships/image" Target="../media/image19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emf"/><Relationship Id="rId5" Type="http://schemas.openxmlformats.org/officeDocument/2006/relationships/image" Target="../media/image21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Imagem 31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8694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 flipH="1" flipV="1">
            <a:off x="7954825" y="3987916"/>
            <a:ext cx="687686" cy="1763688"/>
          </a:xfrm>
          <a:prstGeom prst="rect">
            <a:avLst/>
          </a:prstGeom>
        </p:spPr>
      </p:pic>
      <p:grpSp>
        <p:nvGrpSpPr>
          <p:cNvPr id="33" name="Grupo 32"/>
          <p:cNvGrpSpPr/>
          <p:nvPr/>
        </p:nvGrpSpPr>
        <p:grpSpPr>
          <a:xfrm>
            <a:off x="0" y="1370062"/>
            <a:ext cx="9144000" cy="2160240"/>
            <a:chOff x="0" y="1586086"/>
            <a:chExt cx="9144000" cy="2160240"/>
          </a:xfrm>
        </p:grpSpPr>
        <p:pic>
          <p:nvPicPr>
            <p:cNvPr id="34" name="Picture 2" descr="http://www.cadware-technology.com/ab-home2.jp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1201" y="1586086"/>
              <a:ext cx="6522799" cy="216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http://www.cadware-technology.com/ab-home2.jpg"/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0" y="1586086"/>
              <a:ext cx="4067944" cy="2160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2" descr="http://www.cadware-technology.com/ab-home2.jpg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67944" y="1586086"/>
              <a:ext cx="1438112" cy="14292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2" descr="http://www.cadware-technology.com/ab-home2.jpg"/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067944" y="1586086"/>
              <a:ext cx="504056" cy="1862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tângulo 22"/>
          <p:cNvSpPr/>
          <p:nvPr/>
        </p:nvSpPr>
        <p:spPr>
          <a:xfrm>
            <a:off x="1446638" y="1608661"/>
            <a:ext cx="647210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sz="2800" dirty="0">
                <a:latin typeface="Arial Black" panose="020B0A04020102020204" pitchFamily="34" charset="0"/>
              </a:rPr>
              <a:t>ANÁLISE E COMBATE À INCRUSTAÇÕES EM SISTEMA DE RESFRIAMENTO DE BIOGÁS</a:t>
            </a:r>
          </a:p>
        </p:txBody>
      </p:sp>
      <p:sp>
        <p:nvSpPr>
          <p:cNvPr id="31" name="Retângulo 30"/>
          <p:cNvSpPr/>
          <p:nvPr/>
        </p:nvSpPr>
        <p:spPr>
          <a:xfrm>
            <a:off x="6862902" y="4539212"/>
            <a:ext cx="20126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MATEC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-36512" y="1332406"/>
            <a:ext cx="1659949" cy="2036705"/>
            <a:chOff x="-36512" y="1332406"/>
            <a:chExt cx="1659949" cy="2036705"/>
          </a:xfrm>
        </p:grpSpPr>
        <p:grpSp>
          <p:nvGrpSpPr>
            <p:cNvPr id="15" name="Grupo 14"/>
            <p:cNvGrpSpPr/>
            <p:nvPr/>
          </p:nvGrpSpPr>
          <p:grpSpPr>
            <a:xfrm rot="5400000">
              <a:off x="-224889" y="1520785"/>
              <a:ext cx="2036705" cy="1659947"/>
              <a:chOff x="196687" y="3762110"/>
              <a:chExt cx="2036705" cy="1659947"/>
            </a:xfrm>
          </p:grpSpPr>
          <p:pic>
            <p:nvPicPr>
              <p:cNvPr id="12" name="Imagem 11"/>
              <p:cNvPicPr>
                <a:picLocks noChangeAspect="1"/>
              </p:cNvPicPr>
              <p:nvPr/>
            </p:nvPicPr>
            <p:blipFill rotWithShape="1">
              <a:blip r:embed="rId9" cstate="email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0" b="98856" l="348" r="86609">
                            <a14:foregroundMark x1="21391" y1="12764" x2="21391" y2="1276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89124" y="3932301"/>
                <a:ext cx="753332" cy="1489756"/>
              </a:xfrm>
              <a:prstGeom prst="rect">
                <a:avLst/>
              </a:prstGeom>
            </p:spPr>
          </p:pic>
          <p:pic>
            <p:nvPicPr>
              <p:cNvPr id="13" name="Imagem 12"/>
              <p:cNvPicPr>
                <a:picLocks noChangeAspect="1"/>
              </p:cNvPicPr>
              <p:nvPr/>
            </p:nvPicPr>
            <p:blipFill rotWithShape="1">
              <a:blip r:embed="rId11" cstate="email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2064" b="100000" l="0" r="98775">
                            <a14:foregroundMark x1="49265" y1="15607" x2="49265" y2="156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674504" y="3762110"/>
                <a:ext cx="558888" cy="1659947"/>
              </a:xfrm>
              <a:prstGeom prst="rect">
                <a:avLst/>
              </a:prstGeom>
            </p:spPr>
          </p:pic>
          <p:pic>
            <p:nvPicPr>
              <p:cNvPr id="14" name="Imagem 13"/>
              <p:cNvPicPr>
                <a:picLocks noChangeAspect="1"/>
              </p:cNvPicPr>
              <p:nvPr/>
            </p:nvPicPr>
            <p:blipFill rotWithShape="1">
              <a:blip r:embed="rId13" cstate="email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403647" y="4122671"/>
                <a:ext cx="586267" cy="1279837"/>
              </a:xfrm>
              <a:prstGeom prst="rect">
                <a:avLst/>
              </a:prstGeom>
            </p:spPr>
          </p:pic>
          <p:pic>
            <p:nvPicPr>
              <p:cNvPr id="16" name="Imagem 15"/>
              <p:cNvPicPr>
                <a:picLocks noChangeAspect="1"/>
              </p:cNvPicPr>
              <p:nvPr/>
            </p:nvPicPr>
            <p:blipFill rotWithShape="1">
              <a:blip r:embed="rId15" cstate="email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602496" y="4392486"/>
                <a:ext cx="586267" cy="1010024"/>
              </a:xfrm>
              <a:prstGeom prst="rect">
                <a:avLst/>
              </a:prstGeom>
            </p:spPr>
          </p:pic>
          <p:pic>
            <p:nvPicPr>
              <p:cNvPr id="18" name="Imagem 17"/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0" b="100000" l="0" r="86948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flipH="1">
                <a:off x="899591" y="3901269"/>
                <a:ext cx="687686" cy="1501240"/>
              </a:xfrm>
              <a:prstGeom prst="rect">
                <a:avLst/>
              </a:prstGeom>
            </p:spPr>
          </p:pic>
          <p:pic>
            <p:nvPicPr>
              <p:cNvPr id="20" name="Imagem 19"/>
              <p:cNvPicPr>
                <a:picLocks noChangeAspect="1"/>
              </p:cNvPicPr>
              <p:nvPr/>
            </p:nvPicPr>
            <p:blipFill rotWithShape="1">
              <a:blip r:embed="rId17" cstate="email">
                <a:extLst>
                  <a:ext uri="{BEBA8EAE-BF5A-486C-A8C5-ECC9F3942E4B}">
                    <a14:imgProps xmlns:a14="http://schemas.microsoft.com/office/drawing/2010/main">
                      <a14:imgLayer r:embed="rId18">
                        <a14:imgEffect>
                          <a14:backgroundRemoval t="4433" b="100000" l="0" r="98775">
                            <a14:foregroundMark x1="49265" y1="33511" x2="49265" y2="335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96687" y="4608509"/>
                <a:ext cx="558888" cy="773439"/>
              </a:xfrm>
              <a:prstGeom prst="rect">
                <a:avLst/>
              </a:prstGeom>
            </p:spPr>
          </p:pic>
        </p:grpSp>
        <p:pic>
          <p:nvPicPr>
            <p:cNvPr id="21" name="Imagem 20"/>
            <p:cNvPicPr>
              <a:picLocks noChangeAspect="1"/>
            </p:cNvPicPr>
            <p:nvPr/>
          </p:nvPicPr>
          <p:blipFill rotWithShape="1">
            <a:blip r:embed="rId15" cstate="email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6029"/>
            <a:stretch/>
          </p:blipFill>
          <p:spPr>
            <a:xfrm rot="5400000">
              <a:off x="-57084" y="1632423"/>
              <a:ext cx="586267" cy="545120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/>
          </p:nvPicPr>
          <p:blipFill rotWithShape="1">
            <a:blip r:embed="rId15" cstate="email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97"/>
            <a:stretch/>
          </p:blipFill>
          <p:spPr>
            <a:xfrm rot="5400000">
              <a:off x="119827" y="2242324"/>
              <a:ext cx="586267" cy="898946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0" b="100000" l="0" r="869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360"/>
            <a:stretch/>
          </p:blipFill>
          <p:spPr>
            <a:xfrm rot="5400000">
              <a:off x="267010" y="2166209"/>
              <a:ext cx="687686" cy="1255632"/>
            </a:xfrm>
            <a:prstGeom prst="rect">
              <a:avLst/>
            </a:prstGeom>
          </p:spPr>
        </p:pic>
      </p:grpSp>
      <p:sp>
        <p:nvSpPr>
          <p:cNvPr id="3" name="Retângulo 2"/>
          <p:cNvSpPr/>
          <p:nvPr/>
        </p:nvSpPr>
        <p:spPr>
          <a:xfrm>
            <a:off x="-11872" y="12700"/>
            <a:ext cx="1004934" cy="13324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" name="Retângulo 3"/>
          <p:cNvSpPr/>
          <p:nvPr/>
        </p:nvSpPr>
        <p:spPr>
          <a:xfrm>
            <a:off x="6862902" y="217933"/>
            <a:ext cx="2216123" cy="663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7170" name="Picture 2" descr="http://intranet.fieb.org.br/corporativo/comunicacao/Marcas%20do%20Sistema/SENAI%20CIMATEC/LOGO%202017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902" y="186818"/>
            <a:ext cx="2165838" cy="657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74" y="186818"/>
            <a:ext cx="2044025" cy="740477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4447607" y="2480747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224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5"/>
            <a:ext cx="519946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755576" y="1128911"/>
            <a:ext cx="60486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Caracterização do material incrustado;</a:t>
            </a:r>
          </a:p>
          <a:p>
            <a:pPr algn="just"/>
            <a:r>
              <a:rPr lang="pt-BR" sz="2400" dirty="0">
                <a:latin typeface="Arial" pitchFamily="34" charset="0"/>
                <a:cs typeface="Arial" pitchFamily="34" charset="0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Determinação de soluções técnicas para o combate às incrustações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Estudo comparativo de viabilidade técnica das soluçõ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08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755576" y="1128911"/>
            <a:ext cx="78488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Coleta de material incrustado in loco;</a:t>
            </a:r>
          </a:p>
          <a:p>
            <a:pPr algn="just"/>
            <a:r>
              <a:rPr lang="pt-BR" sz="2400" dirty="0">
                <a:latin typeface="Arial" pitchFamily="34" charset="0"/>
                <a:cs typeface="Arial" pitchFamily="34" charset="0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Preparação das amostras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Realização de ensaios laboratoriais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ARACTERIZAÇÃO DE MATERIAIS</a:t>
            </a:r>
          </a:p>
        </p:txBody>
      </p:sp>
    </p:spTree>
    <p:extLst>
      <p:ext uri="{BB962C8B-B14F-4D97-AF65-F5344CB8AC3E}">
        <p14:creationId xmlns:p14="http://schemas.microsoft.com/office/powerpoint/2010/main" val="3008120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ARACTERIZAÇÃO DE MATERIAI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90857" y="976923"/>
            <a:ext cx="838842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Parcerias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Laboratório de Construção Civil do Senai </a:t>
            </a:r>
            <a:r>
              <a:rPr lang="pt-BR" sz="2400" dirty="0" err="1">
                <a:latin typeface="Arial" pitchFamily="34" charset="0"/>
                <a:cs typeface="Arial" pitchFamily="34" charset="0"/>
              </a:rPr>
              <a:t>Cimatec</a:t>
            </a:r>
            <a:r>
              <a:rPr lang="pt-BR" sz="24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Laboratório de Caracterização de Materiais do IFBA (Instituto Federal da Bahia). 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Ensaios Laboratoriais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Microscopia Eletrônica de Varredura (MEV);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Espectroscopia de Energia Dispersiva (EDS);</a:t>
            </a:r>
          </a:p>
          <a:p>
            <a:pPr marL="800100" lvl="1" indent="-342900" algn="just">
              <a:buFont typeface="Calibri Light" panose="020F0302020204030204" pitchFamily="34" charset="0"/>
              <a:buChar char="₋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Difração de Raios-X (DRX)</a:t>
            </a:r>
            <a:r>
              <a:rPr lang="pt-BR" sz="2400" b="1" dirty="0">
                <a:latin typeface="Arial" pitchFamily="34" charset="0"/>
                <a:cs typeface="Arial" pitchFamily="34" charset="0"/>
              </a:rPr>
              <a:t>.</a:t>
            </a: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77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ARACTERIZAÇÃO DE MATERIAI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90857" y="976923"/>
            <a:ext cx="8388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Preparação das amostr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agem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37" y="2008266"/>
            <a:ext cx="3024336" cy="23600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Imagem 6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629" y="2006683"/>
            <a:ext cx="3024000" cy="23616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17445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ARACTERIZAÇÃO DE MATERIAI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90857" y="976923"/>
            <a:ext cx="8388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Preparação das amostr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agem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53" y="1966661"/>
            <a:ext cx="3024000" cy="25254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m 8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9933" y="1966661"/>
            <a:ext cx="3024000" cy="252602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59753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ARACTERIZAÇÃO DE MATERIAI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90857" y="976923"/>
            <a:ext cx="83884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Ensaios laboratoria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m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21" y="2027362"/>
            <a:ext cx="2844456" cy="251576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Imagem 10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296" y="2021984"/>
            <a:ext cx="3744416" cy="251576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9575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MEV/EDS – AMOSTRA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01 (BACIA)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79025" y="976923"/>
            <a:ext cx="8388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agem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65" y="1369941"/>
            <a:ext cx="3240360" cy="3058101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449578"/>
              </p:ext>
            </p:extLst>
          </p:nvPr>
        </p:nvGraphicFramePr>
        <p:xfrm>
          <a:off x="4211960" y="1386864"/>
          <a:ext cx="4315388" cy="2461540"/>
        </p:xfrm>
        <a:graphic>
          <a:graphicData uri="http://schemas.openxmlformats.org/drawingml/2006/table">
            <a:tbl>
              <a:tblPr firstRow="1">
                <a:tableStyleId>{5202B0CA-FC54-4496-8BCA-5EF66A818D29}</a:tableStyleId>
              </a:tblPr>
              <a:tblGrid>
                <a:gridCol w="21576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76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0868">
                <a:tc>
                  <a:txBody>
                    <a:bodyPr/>
                    <a:lstStyle/>
                    <a:p>
                      <a:pPr marL="0" algn="ctr" defTabSz="710946" rtl="0" eaLnBrk="1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ment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Concentraçã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gnés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ilí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3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ál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1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err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438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MEV/EDS – AMOSTRA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02 (TROCADOR)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79025" y="976923"/>
            <a:ext cx="8388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Imagem 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33" y="1380929"/>
            <a:ext cx="3240000" cy="306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863222"/>
              </p:ext>
            </p:extLst>
          </p:nvPr>
        </p:nvGraphicFramePr>
        <p:xfrm>
          <a:off x="4139952" y="1385915"/>
          <a:ext cx="4315388" cy="2862408"/>
        </p:xfrm>
        <a:graphic>
          <a:graphicData uri="http://schemas.openxmlformats.org/drawingml/2006/table">
            <a:tbl>
              <a:tblPr firstRow="1">
                <a:tableStyleId>{5202B0CA-FC54-4496-8BCA-5EF66A818D29}</a:tableStyleId>
              </a:tblPr>
              <a:tblGrid>
                <a:gridCol w="21576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76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Element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Concentraçã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gnés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ilí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ál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8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err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6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lumínio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%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5334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MEV/EDS – AMOSTRA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03 (CURVA DE 90º)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79025" y="976923"/>
            <a:ext cx="8388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286030"/>
              </p:ext>
            </p:extLst>
          </p:nvPr>
        </p:nvGraphicFramePr>
        <p:xfrm>
          <a:off x="4139952" y="1385915"/>
          <a:ext cx="4315388" cy="2461540"/>
        </p:xfrm>
        <a:graphic>
          <a:graphicData uri="http://schemas.openxmlformats.org/drawingml/2006/table">
            <a:tbl>
              <a:tblPr firstRow="1">
                <a:tableStyleId>{5202B0CA-FC54-4496-8BCA-5EF66A818D29}</a:tableStyleId>
              </a:tblPr>
              <a:tblGrid>
                <a:gridCol w="21576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76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Element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Concentraçã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gnés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ilí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3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ál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err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7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Imagem 7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77" y="1385915"/>
            <a:ext cx="3240000" cy="3060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2238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MEV/EDS – AMOSTRA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04 (TROCADOR)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679025" y="976923"/>
            <a:ext cx="8388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451936"/>
              </p:ext>
            </p:extLst>
          </p:nvPr>
        </p:nvGraphicFramePr>
        <p:xfrm>
          <a:off x="4139952" y="1385915"/>
          <a:ext cx="4315388" cy="2862408"/>
        </p:xfrm>
        <a:graphic>
          <a:graphicData uri="http://schemas.openxmlformats.org/drawingml/2006/table">
            <a:tbl>
              <a:tblPr firstRow="1">
                <a:tableStyleId>{5202B0CA-FC54-4496-8BCA-5EF66A818D29}</a:tableStyleId>
              </a:tblPr>
              <a:tblGrid>
                <a:gridCol w="21576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76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Element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2000" dirty="0">
                          <a:effectLst/>
                        </a:rPr>
                        <a:t>Concentração</a:t>
                      </a:r>
                      <a:endParaRPr lang="pt-BR" sz="20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gnés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ilí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5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álci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erro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Sódio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&lt;1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0086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  <a:endParaRPr lang="pt-BR" sz="16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9" name="Imagem 8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69" y="1385915"/>
            <a:ext cx="3240000" cy="3060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9675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5"/>
          <p:cNvSpPr txBox="1">
            <a:spLocks noChangeArrowheads="1"/>
          </p:cNvSpPr>
          <p:nvPr/>
        </p:nvSpPr>
        <p:spPr bwMode="auto">
          <a:xfrm>
            <a:off x="870992" y="409736"/>
            <a:ext cx="6408712" cy="43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9485" tIns="34743" rIns="69485" bIns="34743">
            <a:spAutoFit/>
          </a:bodyPr>
          <a:lstStyle>
            <a:defPPr>
              <a:defRPr lang="pt-BR"/>
            </a:defPPr>
            <a:lvl1pPr>
              <a:spcBef>
                <a:spcPct val="50000"/>
              </a:spcBef>
              <a:defRPr sz="2400">
                <a:solidFill>
                  <a:schemeClr val="tx1">
                    <a:alpha val="55000"/>
                  </a:schemeClr>
                </a:solidFill>
                <a:latin typeface="+mj-lt"/>
                <a:cs typeface="Arial" pitchFamily="34" charset="0"/>
              </a:defRPr>
            </a:lvl1pPr>
            <a:lvl2pPr marL="37931725" indent="-37474525"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pt-BR" b="1" dirty="0">
                <a:latin typeface="Arial" panose="020B0604020202020204" pitchFamily="34" charset="0"/>
              </a:rPr>
              <a:t>Equipe do Projeto</a:t>
            </a:r>
          </a:p>
        </p:txBody>
      </p:sp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1331640" y="1514078"/>
            <a:ext cx="7200800" cy="3600400"/>
          </a:xfrm>
          <a:prstGeom prst="rect">
            <a:avLst/>
          </a:prstGeom>
        </p:spPr>
        <p:txBody>
          <a:bodyPr>
            <a:normAutofit/>
          </a:bodyPr>
          <a:lstStyle>
            <a:lvl1pPr marL="266605" indent="-26660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7644" indent="-222171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8683" indent="-177737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156" indent="-177737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99629" indent="-177737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55102" indent="-177737" algn="l" defTabSz="7109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10575" indent="-177737" algn="l" defTabSz="7109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048" indent="-177737" algn="l" defTabSz="7109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21521" indent="-177737" algn="l" defTabSz="7109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5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pt-BR" altLang="pt-BR" dirty="0">
                <a:latin typeface="Arial" panose="020B0604020202020204" pitchFamily="34" charset="0"/>
                <a:cs typeface="Arial" panose="020B0604020202020204" pitchFamily="34" charset="0"/>
              </a:rPr>
              <a:t>Victor Valença – GP;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pt-BR" altLang="pt-BR" dirty="0">
                <a:latin typeface="Arial" panose="020B0604020202020204" pitchFamily="34" charset="0"/>
                <a:cs typeface="Arial" panose="020B0604020202020204" pitchFamily="34" charset="0"/>
              </a:rPr>
              <a:t>João Lucas Souza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pt-BR" altLang="pt-BR" dirty="0">
                <a:latin typeface="Arial" panose="020B0604020202020204" pitchFamily="34" charset="0"/>
                <a:cs typeface="Arial" panose="020B0604020202020204" pitchFamily="34" charset="0"/>
              </a:rPr>
              <a:t>Leon Rossini 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pt-BR" altLang="pt-BR" dirty="0">
                <a:latin typeface="Arial" panose="020B0604020202020204" pitchFamily="34" charset="0"/>
                <a:cs typeface="Arial" panose="020B0604020202020204" pitchFamily="34" charset="0"/>
              </a:rPr>
              <a:t>Otaviano Freitas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pt-BR" altLang="pt-BR" dirty="0">
                <a:latin typeface="Arial" panose="020B0604020202020204" pitchFamily="34" charset="0"/>
                <a:cs typeface="Arial" panose="020B0604020202020204" pitchFamily="34" charset="0"/>
              </a:rPr>
              <a:t>Nicholas Ono</a:t>
            </a:r>
          </a:p>
        </p:txBody>
      </p:sp>
    </p:spTree>
    <p:extLst>
      <p:ext uri="{BB962C8B-B14F-4D97-AF65-F5344CB8AC3E}">
        <p14:creationId xmlns:p14="http://schemas.microsoft.com/office/powerpoint/2010/main" val="419820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RX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– AMOSTRA 01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34" y="951911"/>
            <a:ext cx="7102800" cy="3819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6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127" y="1298054"/>
            <a:ext cx="3781425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915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RX </a:t>
            </a: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– AMOSTRA 02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000" y="988705"/>
            <a:ext cx="7102800" cy="3810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3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298054"/>
            <a:ext cx="2533650" cy="119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183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RX </a:t>
            </a: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– AMOSTRA 03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061" y="976923"/>
            <a:ext cx="7102800" cy="3783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226046"/>
            <a:ext cx="2605658" cy="577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597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0" y="145926"/>
            <a:ext cx="5759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SULTADOS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RX </a:t>
            </a: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– AMOSTRA 04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13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Imagem 5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948" y="1032669"/>
            <a:ext cx="7102460" cy="3760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973" y="1298054"/>
            <a:ext cx="4095750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647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" y="1402400"/>
            <a:ext cx="3347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i="1" dirty="0"/>
              <a:t>.</a:t>
            </a:r>
            <a:endParaRPr lang="pt-BR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7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m 5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Google Shape;447;g656f586a2c_0_0"/>
          <p:cNvPicPr preferRelativeResize="0"/>
          <p:nvPr/>
        </p:nvPicPr>
        <p:blipFill rotWithShape="1">
          <a:blip r:embed="rId5">
            <a:alphaModFix/>
          </a:blip>
          <a:srcRect t="12357"/>
          <a:stretch/>
        </p:blipFill>
        <p:spPr>
          <a:xfrm>
            <a:off x="3832103" y="1744705"/>
            <a:ext cx="5312912" cy="261923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3EC8AFB-1D49-49CA-B2E0-194E8E00C3C5}"/>
              </a:ext>
            </a:extLst>
          </p:cNvPr>
          <p:cNvSpPr txBox="1"/>
          <p:nvPr/>
        </p:nvSpPr>
        <p:spPr>
          <a:xfrm>
            <a:off x="195192" y="1315383"/>
            <a:ext cx="363589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“Uma água é designada por água muito dura quando apresenta uma concentração em carbonato de cálcio superior a 180 mg/L; dura com concentração entre 120 e 180 mg/L, moderadamente dura entre 60-120 mg/L e macia quando os teores em carbonato de cálcio são inferiores à 60 mg/L.”</a:t>
            </a:r>
          </a:p>
        </p:txBody>
      </p:sp>
      <p:sp>
        <p:nvSpPr>
          <p:cNvPr id="13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onceito – Dureza da Água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012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onceito – Dureza da Água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" y="1402400"/>
            <a:ext cx="3347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i="1" dirty="0"/>
              <a:t>.</a:t>
            </a:r>
            <a:endParaRPr lang="pt-BR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6" name="Grupo 5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7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m 5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3EC8AFB-1D49-49CA-B2E0-194E8E00C3C5}"/>
              </a:ext>
            </a:extLst>
          </p:cNvPr>
          <p:cNvSpPr txBox="1"/>
          <p:nvPr/>
        </p:nvSpPr>
        <p:spPr>
          <a:xfrm>
            <a:off x="251520" y="1512331"/>
            <a:ext cx="669200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Cátions de Sais (metais alcalino terrosos) - Permanten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Cálcio - Ca2+(aq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Magnésio - Mg2+(aq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Ferro II - Fe2+(aq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Ânions - Temporá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Carbona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Bicarbona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Cloret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Sulfato</a:t>
            </a:r>
          </a:p>
        </p:txBody>
      </p:sp>
      <p:pic>
        <p:nvPicPr>
          <p:cNvPr id="12" name="Google Shape;454;g656f586a2c_0_15"/>
          <p:cNvPicPr preferRelativeResize="0"/>
          <p:nvPr/>
        </p:nvPicPr>
        <p:blipFill rotWithShape="1">
          <a:blip r:embed="rId5">
            <a:alphaModFix/>
          </a:blip>
          <a:srcRect l="-69" t="16205" r="69" b="-2872"/>
          <a:stretch/>
        </p:blipFill>
        <p:spPr>
          <a:xfrm>
            <a:off x="3995936" y="2515337"/>
            <a:ext cx="4802476" cy="23467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739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olução – Dureza da Água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oogle Shape;463;g656f586a2c_0_2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37872" y="1447698"/>
            <a:ext cx="3467281" cy="30657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465;g656f586a2c_0_2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27584" y="2276411"/>
            <a:ext cx="3734955" cy="1971479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466;g656f586a2c_0_26"/>
          <p:cNvSpPr txBox="1"/>
          <p:nvPr/>
        </p:nvSpPr>
        <p:spPr>
          <a:xfrm>
            <a:off x="1661853" y="4071082"/>
            <a:ext cx="2066416" cy="5008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letroforese</a:t>
            </a:r>
            <a:endParaRPr sz="20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5" name="Google Shape;467;g656f586a2c_0_26"/>
          <p:cNvSpPr txBox="1"/>
          <p:nvPr/>
        </p:nvSpPr>
        <p:spPr>
          <a:xfrm>
            <a:off x="6228185" y="4263018"/>
            <a:ext cx="1949482" cy="4914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0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brandador</a:t>
            </a:r>
            <a:endParaRPr sz="20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7727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olução – Abrandamento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oogle Shape;474;g656f586a2c_0_37"/>
          <p:cNvSpPr txBox="1"/>
          <p:nvPr/>
        </p:nvSpPr>
        <p:spPr>
          <a:xfrm>
            <a:off x="360600" y="1406625"/>
            <a:ext cx="8174167" cy="2051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pt-BR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roca Iônica</a:t>
            </a:r>
            <a:endParaRPr sz="1600"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800100" marR="0" lvl="1" indent="-34290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₋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Passagem da água por resina catiônica(-) que trocam os íons de cálcio (Ca) e magnésio (Mg) presentes na água por íons de sódio (Na) – solúvel em água.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-(SO3Na)2+ Ca2+ &amp; R-(SO3)2Ca + 2Na+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-(SO3Na)2+ Mg2+ &amp; R-(SO3)2Mg + 2Na+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8" name="Google Shape;475;g656f586a2c_0_37"/>
          <p:cNvSpPr txBox="1"/>
          <p:nvPr/>
        </p:nvSpPr>
        <p:spPr>
          <a:xfrm>
            <a:off x="356543" y="3170263"/>
            <a:ext cx="4516156" cy="2474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pt-BR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Vantagens</a:t>
            </a:r>
            <a:endParaRPr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457200" marR="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-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lta eficiência de remoção de dureza (1ppm de CaCO3);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457200" marR="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-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sinas podem ser regeneradas (salmora - NaCl).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457200" marR="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-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Não há formação de Iodo.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0" name="Google Shape;476;g656f586a2c_0_37"/>
          <p:cNvSpPr txBox="1"/>
          <p:nvPr/>
        </p:nvSpPr>
        <p:spPr>
          <a:xfrm>
            <a:off x="4878177" y="3170262"/>
            <a:ext cx="4086312" cy="24748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marR="0" lvl="0" indent="-342900" algn="just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</a:pPr>
            <a:r>
              <a:rPr lang="pt-BR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Desvantagens</a:t>
            </a:r>
            <a:endParaRPr b="1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457200" marR="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-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quer pré-tratamento da água para retirar sólidos em suspensão;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457200" marR="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Char char="-"/>
            </a:pPr>
            <a:r>
              <a:rPr lang="pt-BR" sz="16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Descarte do efluente gerado na regeneração.</a:t>
            </a: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marR="0" lvl="0" indent="-1905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16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3341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olução – Abrandamento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oogle Shape;499;g656f586a2c_0_5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1640" y="1370062"/>
            <a:ext cx="6764834" cy="33810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826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596424" y="-204933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>
                <a:latin typeface="Arial" panose="020B0604020202020204" pitchFamily="34" charset="0"/>
                <a:cs typeface="Arial" panose="020B0604020202020204" pitchFamily="34" charset="0"/>
              </a:rPr>
              <a:t>Conceito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" y="1402400"/>
            <a:ext cx="3347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i="1" dirty="0"/>
              <a:t>.</a:t>
            </a:r>
            <a:endParaRPr lang="pt-BR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03EC8AFB-1D49-49CA-B2E0-194E8E00C3C5}"/>
              </a:ext>
            </a:extLst>
          </p:cNvPr>
          <p:cNvSpPr txBox="1"/>
          <p:nvPr/>
        </p:nvSpPr>
        <p:spPr>
          <a:xfrm>
            <a:off x="251520" y="1384272"/>
            <a:ext cx="539958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Tratamento físico da água</a:t>
            </a:r>
          </a:p>
          <a:p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Eletrofor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Formação de campo elétrico no interior da tubul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oogle Shape;484;g656f586a2c_2_6" descr="Resultado de imagem para vulcan acquasolo">
            <a:extLst>
              <a:ext uri="{FF2B5EF4-FFF2-40B4-BE49-F238E27FC236}">
                <a16:creationId xmlns="" xmlns:a16="http://schemas.microsoft.com/office/drawing/2014/main" id="{8CB53AED-7B97-4CC3-9749-09CD9E8BE75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372200" y="1586086"/>
            <a:ext cx="2376265" cy="224454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upo 5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7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7084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043608" y="1082030"/>
            <a:ext cx="756084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Cursos: Engenharia de Automação, Engenharia Civil e Engenharia de Produção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Título do Projeto: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Análise e combate à incrustações em sistemas de resfriamento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e biogás. 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Empresa (cliente):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Termoverde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Salvador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Orientador: Moisés Ferreira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ocente/GTA: João Lucas da Hora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Coordenador: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Luar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Batalha</a:t>
            </a:r>
          </a:p>
        </p:txBody>
      </p:sp>
    </p:spTree>
    <p:extLst>
      <p:ext uri="{BB962C8B-B14F-4D97-AF65-F5344CB8AC3E}">
        <p14:creationId xmlns:p14="http://schemas.microsoft.com/office/powerpoint/2010/main" val="33448558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" y="1402400"/>
            <a:ext cx="3347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i="1" dirty="0"/>
              <a:t>.</a:t>
            </a:r>
            <a:endParaRPr lang="pt-BR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pt-BR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6" name="Google Shape;490;g656f586a2c_2_20">
            <a:extLst>
              <a:ext uri="{FF2B5EF4-FFF2-40B4-BE49-F238E27FC236}">
                <a16:creationId xmlns="" xmlns:a16="http://schemas.microsoft.com/office/drawing/2014/main" id="{8DCFC057-E29F-4E0B-8FAF-9211824A8C5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75108" y="941681"/>
            <a:ext cx="5968352" cy="165618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492;g656f586a2c_2_20">
            <a:extLst>
              <a:ext uri="{FF2B5EF4-FFF2-40B4-BE49-F238E27FC236}">
                <a16:creationId xmlns="" xmlns:a16="http://schemas.microsoft.com/office/drawing/2014/main" id="{8E8D7F4E-7DE1-4B75-B186-065AD00631AE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433159" y="3437570"/>
            <a:ext cx="6446291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Arrow: Down 2">
            <a:extLst>
              <a:ext uri="{FF2B5EF4-FFF2-40B4-BE49-F238E27FC236}">
                <a16:creationId xmlns="" xmlns:a16="http://schemas.microsoft.com/office/drawing/2014/main" id="{CAB56188-78E7-4B41-B094-ADB292CCB835}"/>
              </a:ext>
            </a:extLst>
          </p:cNvPr>
          <p:cNvSpPr/>
          <p:nvPr/>
        </p:nvSpPr>
        <p:spPr>
          <a:xfrm>
            <a:off x="4269972" y="2522190"/>
            <a:ext cx="386333" cy="844047"/>
          </a:xfrm>
          <a:prstGeom prst="down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ítulo 1"/>
          <p:cNvSpPr txBox="1">
            <a:spLocks/>
          </p:cNvSpPr>
          <p:nvPr/>
        </p:nvSpPr>
        <p:spPr>
          <a:xfrm>
            <a:off x="1596424" y="0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olução – Eletroforese</a:t>
            </a:r>
            <a:endParaRPr lang="pt-BR" altLang="pt-BR" sz="3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88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Viabilidade Técnico-Financeir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8"/>
            <a:ext cx="708101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nalise 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autada em dois </a:t>
            </a:r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ie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ustos de aquisição e instalação de um sistema eletrônico </a:t>
            </a:r>
            <a:r>
              <a:rPr lang="pt-BR" dirty="0" err="1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nti-incrustação</a:t>
            </a:r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para uma tubulação específica de um trocador de cal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dirty="0">
                <a:latin typeface="Arial" charset="0"/>
                <a:ea typeface="Times New Roman" charset="0"/>
              </a:rPr>
              <a:t>Evitar gastos desnecessários caso o projeto não possa ser desenvolvido com as atuais restrições da empresa em </a:t>
            </a:r>
            <a:r>
              <a:rPr lang="pt-BR" dirty="0" smtClean="0">
                <a:latin typeface="Arial" charset="0"/>
                <a:ea typeface="Times New Roman" charset="0"/>
              </a:rPr>
              <a:t>questão.</a:t>
            </a:r>
          </a:p>
          <a:p>
            <a:endParaRPr lang="pt-BR" dirty="0" smtClean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álculos 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alizados: ROI (</a:t>
            </a:r>
            <a:r>
              <a:rPr lang="pt-BR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turn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f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t-BR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vestment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 ; </a:t>
            </a:r>
            <a:r>
              <a:rPr lang="pt-BR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ayback</a:t>
            </a:r>
            <a:r>
              <a:rPr lang="pt-BR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e VPL (Valor Líquido </a:t>
            </a:r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esente.</a:t>
            </a:r>
          </a:p>
          <a:p>
            <a:r>
              <a:rPr lang="pt-BR" sz="240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48625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Viabilidade Técnico-Financeir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8"/>
            <a:ext cx="708101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luçõ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240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598922"/>
              </p:ext>
            </p:extLst>
          </p:nvPr>
        </p:nvGraphicFramePr>
        <p:xfrm>
          <a:off x="97429" y="1543280"/>
          <a:ext cx="4320480" cy="1992509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4236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968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83045"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 dirty="0">
                          <a:effectLst/>
                        </a:rPr>
                        <a:t>Equipamento</a:t>
                      </a:r>
                      <a:endParaRPr lang="pt-BR" sz="12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 dirty="0">
                          <a:effectLst/>
                        </a:rPr>
                        <a:t>Vulcan S250</a:t>
                      </a:r>
                      <a:endParaRPr lang="pt-BR" sz="12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25416">
                <a:tc>
                  <a:txBody>
                    <a:bodyPr/>
                    <a:lstStyle/>
                    <a:p>
                      <a:pPr marR="270510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 dirty="0">
                          <a:effectLst/>
                        </a:rPr>
                        <a:t>Descrição</a:t>
                      </a:r>
                      <a:endParaRPr lang="pt-BR" sz="12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R="270510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>
                          <a:effectLst/>
                        </a:rPr>
                        <a:t>Vazão nominal de 250 m³/h e capacidade para trabalhar com tubos de até 10" (250 mm) de diâmetro, temperatura da água até 90°C e teor de ferro máximo de 1,0 mg/l.</a:t>
                      </a:r>
                      <a:endParaRPr lang="pt-BR" sz="12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3045"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 dirty="0" smtClean="0">
                          <a:effectLst/>
                        </a:rPr>
                        <a:t>Custo de unitário</a:t>
                      </a:r>
                      <a:endParaRPr lang="pt-BR" sz="12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200" dirty="0" smtClean="0">
                          <a:effectLst/>
                        </a:rPr>
                        <a:t>R$ 58.840,00</a:t>
                      </a:r>
                      <a:endParaRPr lang="pt-BR" sz="12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614100"/>
              </p:ext>
            </p:extLst>
          </p:nvPr>
        </p:nvGraphicFramePr>
        <p:xfrm>
          <a:off x="4499992" y="1514079"/>
          <a:ext cx="4536504" cy="380581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38615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503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6624">
                <a:tc>
                  <a:txBody>
                    <a:bodyPr/>
                    <a:lstStyle/>
                    <a:p>
                      <a:pPr marR="270510" algn="just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 dirty="0">
                          <a:effectLst/>
                        </a:rPr>
                        <a:t>Equipamento</a:t>
                      </a:r>
                      <a:endParaRPr lang="pt-BR" sz="10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tc>
                  <a:txBody>
                    <a:bodyPr/>
                    <a:lstStyle/>
                    <a:p>
                      <a:pPr marR="270510" algn="just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>
                          <a:effectLst/>
                        </a:rPr>
                        <a:t>Abrandador automatico GS 50.000</a:t>
                      </a:r>
                      <a:endParaRPr lang="pt-BR" sz="10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94363">
                <a:tc>
                  <a:txBody>
                    <a:bodyPr/>
                    <a:lstStyle/>
                    <a:p>
                      <a:pPr marR="270510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>
                          <a:effectLst/>
                        </a:rPr>
                        <a:t>Descrição</a:t>
                      </a:r>
                      <a:endParaRPr lang="pt-BR" sz="10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tc>
                  <a:txBody>
                    <a:bodyPr/>
                    <a:lstStyle/>
                    <a:p>
                      <a:pPr marL="272415" marR="270510" algn="just">
                        <a:lnSpc>
                          <a:spcPct val="105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 dirty="0">
                          <a:effectLst/>
                        </a:rPr>
                        <a:t>Filtro que tem por finalidade a redução do teor de dureza presente na água.</a:t>
                      </a:r>
                      <a:br>
                        <a:rPr lang="pt-BR" sz="1000" dirty="0">
                          <a:effectLst/>
                        </a:rPr>
                      </a:br>
                      <a:r>
                        <a:rPr lang="pt-BR" sz="1000" dirty="0">
                          <a:effectLst/>
                        </a:rPr>
                        <a:t>Apresenta regeneração automática, que pode ser programada para acontecer em qualquer dia/horário, em válvula de</a:t>
                      </a:r>
                      <a:br>
                        <a:rPr lang="pt-BR" sz="1000" dirty="0">
                          <a:effectLst/>
                        </a:rPr>
                      </a:br>
                      <a:r>
                        <a:rPr lang="pt-BR" sz="1000" dirty="0">
                          <a:effectLst/>
                        </a:rPr>
                        <a:t>controle digital com indicação de vazão horaria. Tanque em polietileno com fibra de vidro medindo 125 x 270 cm, possui</a:t>
                      </a:r>
                      <a:br>
                        <a:rPr lang="pt-BR" sz="1000" dirty="0">
                          <a:effectLst/>
                        </a:rPr>
                      </a:br>
                      <a:r>
                        <a:rPr lang="pt-BR" sz="1000" dirty="0">
                          <a:effectLst/>
                        </a:rPr>
                        <a:t>internamente 1,250 litros de resina catiônica. Acompanha Tanque de Regeneração </a:t>
                      </a:r>
                      <a:r>
                        <a:rPr lang="pt-BR" sz="1000" dirty="0" err="1">
                          <a:effectLst/>
                        </a:rPr>
                        <a:t>rotomoldado</a:t>
                      </a:r>
                      <a:r>
                        <a:rPr lang="pt-BR" sz="1000" dirty="0">
                          <a:effectLst/>
                        </a:rPr>
                        <a:t> de 900 litros para cada</a:t>
                      </a:r>
                      <a:br>
                        <a:rPr lang="pt-BR" sz="1000" dirty="0">
                          <a:effectLst/>
                        </a:rPr>
                      </a:br>
                      <a:r>
                        <a:rPr lang="pt-BR" sz="1000" dirty="0" err="1">
                          <a:effectLst/>
                        </a:rPr>
                        <a:t>abrandador</a:t>
                      </a:r>
                      <a:r>
                        <a:rPr lang="pt-BR" sz="1000" dirty="0">
                          <a:effectLst/>
                        </a:rPr>
                        <a:t> ou 01 de 5.000 litros para o sistema todo. Expansão livre de 35% da altura do tanque na regeneração.</a:t>
                      </a:r>
                      <a:br>
                        <a:rPr lang="pt-BR" sz="1000" dirty="0">
                          <a:effectLst/>
                        </a:rPr>
                      </a:br>
                      <a:r>
                        <a:rPr lang="pt-BR" sz="1000" dirty="0">
                          <a:effectLst/>
                        </a:rPr>
                        <a:t>Campanha estimada em 1000 m3 na vazão de 53 m3/h. Consumo de sal de 150 </a:t>
                      </a:r>
                      <a:r>
                        <a:rPr lang="pt-BR" sz="1000" dirty="0" err="1">
                          <a:effectLst/>
                        </a:rPr>
                        <a:t>kgs</a:t>
                      </a:r>
                      <a:r>
                        <a:rPr lang="pt-BR" sz="1000" dirty="0">
                          <a:effectLst/>
                        </a:rPr>
                        <a:t> por regeneração.</a:t>
                      </a:r>
                      <a:endParaRPr lang="pt-BR" sz="10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8766">
                <a:tc>
                  <a:txBody>
                    <a:bodyPr/>
                    <a:lstStyle/>
                    <a:p>
                      <a:pPr marR="270510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>
                          <a:effectLst/>
                        </a:rPr>
                        <a:t>Custo Unitário</a:t>
                      </a:r>
                      <a:endParaRPr lang="pt-BR" sz="10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>
                          <a:effectLst/>
                        </a:rPr>
                        <a:t>R$   76.000,00</a:t>
                      </a:r>
                      <a:endParaRPr lang="pt-BR" sz="10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9718">
                <a:tc>
                  <a:txBody>
                    <a:bodyPr/>
                    <a:lstStyle/>
                    <a:p>
                      <a:pPr marR="270510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>
                          <a:effectLst/>
                        </a:rPr>
                        <a:t>Custo Total</a:t>
                      </a:r>
                      <a:endParaRPr lang="pt-BR" sz="100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ctr"/>
                </a:tc>
                <a:tc>
                  <a:txBody>
                    <a:bodyPr/>
                    <a:lstStyle/>
                    <a:p>
                      <a:pPr marR="270510" algn="ctr">
                        <a:lnSpc>
                          <a:spcPct val="105000"/>
                        </a:lnSpc>
                        <a:spcBef>
                          <a:spcPts val="20"/>
                        </a:spcBef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pt-BR" sz="1000" dirty="0">
                          <a:effectLst/>
                        </a:rPr>
                        <a:t>R$ 304.000,00</a:t>
                      </a:r>
                      <a:endParaRPr lang="pt-BR" sz="100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5049" marR="55049" marT="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5049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Viabilidade Técnico-Financeir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latin typeface="Arial" charset="0"/>
                <a:ea typeface="Times New Roman" charset="0"/>
              </a:rPr>
              <a:t>Segundo as defini</a:t>
            </a:r>
            <a:r>
              <a:rPr lang="en-US" dirty="0" err="1">
                <a:latin typeface="Arial" charset="0"/>
                <a:ea typeface="Times New Roman" charset="0"/>
              </a:rPr>
              <a:t>ções</a:t>
            </a:r>
            <a:r>
              <a:rPr lang="en-US" dirty="0">
                <a:latin typeface="Arial" charset="0"/>
                <a:ea typeface="Times New Roman" charset="0"/>
              </a:rPr>
              <a:t> </a:t>
            </a:r>
            <a:r>
              <a:rPr lang="pt-BR" dirty="0">
                <a:latin typeface="Arial" charset="0"/>
                <a:ea typeface="Times New Roman" charset="0"/>
              </a:rPr>
              <a:t>de </a:t>
            </a:r>
            <a:r>
              <a:rPr lang="pt-BR" dirty="0" err="1">
                <a:latin typeface="Arial" charset="0"/>
                <a:ea typeface="Times New Roman" charset="0"/>
              </a:rPr>
              <a:t>Woiler</a:t>
            </a:r>
            <a:r>
              <a:rPr lang="pt-BR" dirty="0">
                <a:latin typeface="Arial" charset="0"/>
                <a:ea typeface="Times New Roman" charset="0"/>
              </a:rPr>
              <a:t> e Mathias (1996), o tempo de Recuperação dos Investimentos (método </a:t>
            </a:r>
            <a:r>
              <a:rPr lang="pt-BR" dirty="0" err="1">
                <a:latin typeface="Arial" charset="0"/>
                <a:ea typeface="Times New Roman" charset="0"/>
              </a:rPr>
              <a:t>payback</a:t>
            </a:r>
            <a:r>
              <a:rPr lang="pt-BR" dirty="0">
                <a:latin typeface="Arial" charset="0"/>
                <a:ea typeface="Times New Roman" charset="0"/>
              </a:rPr>
              <a:t>) é definido </a:t>
            </a:r>
            <a:r>
              <a:rPr lang="pt-BR" b="1" dirty="0">
                <a:latin typeface="Arial" charset="0"/>
                <a:ea typeface="Times New Roman" charset="0"/>
              </a:rPr>
              <a:t>como o prazo necessário para que os Investimentos sejam recuperados</a:t>
            </a:r>
            <a:r>
              <a:rPr lang="pt-BR" sz="2400" b="1" dirty="0" smtClean="0">
                <a:latin typeface="Arial" charset="0"/>
                <a:ea typeface="Times New Roman" charset="0"/>
              </a:rPr>
              <a:t>.</a:t>
            </a:r>
          </a:p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Imagem 6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59" y="2564483"/>
            <a:ext cx="2649141" cy="677787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2616939" y="2564482"/>
            <a:ext cx="28191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/>
              <a:t>APLICANDO AO ESTADO PRESENTE DA EMPRESA</a:t>
            </a:r>
            <a:endParaRPr lang="pt-BR" sz="900" b="1" dirty="0"/>
          </a:p>
        </p:txBody>
      </p:sp>
      <p:cxnSp>
        <p:nvCxnSpPr>
          <p:cNvPr id="13" name="Conector de Seta Reta 12"/>
          <p:cNvCxnSpPr/>
          <p:nvPr/>
        </p:nvCxnSpPr>
        <p:spPr>
          <a:xfrm flipV="1">
            <a:off x="2830222" y="2791292"/>
            <a:ext cx="2392590" cy="5267"/>
          </a:xfrm>
          <a:prstGeom prst="straightConnector1">
            <a:avLst/>
          </a:prstGeom>
          <a:ln w="254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94528" y="2543364"/>
            <a:ext cx="2554920" cy="495856"/>
          </a:xfrm>
          <a:prstGeom prst="rect">
            <a:avLst/>
          </a:prstGeom>
        </p:spPr>
      </p:pic>
      <p:grpSp>
        <p:nvGrpSpPr>
          <p:cNvPr id="16" name="Grupo 15"/>
          <p:cNvGrpSpPr/>
          <p:nvPr/>
        </p:nvGrpSpPr>
        <p:grpSpPr>
          <a:xfrm>
            <a:off x="7719453" y="2222177"/>
            <a:ext cx="1170513" cy="1020093"/>
            <a:chOff x="10362943" y="3327265"/>
            <a:chExt cx="2001348" cy="1270776"/>
          </a:xfrm>
        </p:grpSpPr>
        <p:sp>
          <p:nvSpPr>
            <p:cNvPr id="17" name="CaixaDeTexto 16"/>
            <p:cNvSpPr txBox="1"/>
            <p:nvPr/>
          </p:nvSpPr>
          <p:spPr>
            <a:xfrm>
              <a:off x="10664751" y="3327265"/>
              <a:ext cx="1228436" cy="287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900" b="1" dirty="0" smtClean="0"/>
                <a:t>=0,8 ANO</a:t>
              </a:r>
              <a:endParaRPr lang="pt-BR" sz="900" b="1" dirty="0"/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11048669" y="3873709"/>
              <a:ext cx="565159" cy="287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900" b="1" dirty="0" smtClean="0"/>
                <a:t>ou</a:t>
              </a:r>
              <a:endParaRPr lang="pt-BR" sz="900" b="1" dirty="0"/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10362943" y="4310483"/>
              <a:ext cx="2001348" cy="2875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900" b="1" dirty="0" smtClean="0"/>
                <a:t>10 meses e 3 dias</a:t>
              </a:r>
              <a:endParaRPr lang="pt-BR" sz="900" b="1" dirty="0"/>
            </a:p>
          </p:txBody>
        </p:sp>
      </p:grpSp>
      <p:sp>
        <p:nvSpPr>
          <p:cNvPr id="20" name="Retângulo 19"/>
          <p:cNvSpPr/>
          <p:nvPr/>
        </p:nvSpPr>
        <p:spPr>
          <a:xfrm>
            <a:off x="7714035" y="2222177"/>
            <a:ext cx="1034429" cy="212423"/>
          </a:xfrm>
          <a:prstGeom prst="rect">
            <a:avLst/>
          </a:prstGeom>
          <a:solidFill>
            <a:schemeClr val="accent6">
              <a:alpha val="30000"/>
            </a:schemeClr>
          </a:solidFill>
          <a:ln cmpd="sng">
            <a:solidFill>
              <a:schemeClr val="tx1">
                <a:alpha val="12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20"/>
          <p:cNvSpPr/>
          <p:nvPr/>
        </p:nvSpPr>
        <p:spPr>
          <a:xfrm>
            <a:off x="7714035" y="3025329"/>
            <a:ext cx="1082334" cy="230832"/>
          </a:xfrm>
          <a:prstGeom prst="rect">
            <a:avLst/>
          </a:prstGeom>
          <a:solidFill>
            <a:schemeClr val="accent6">
              <a:alpha val="30000"/>
            </a:schemeClr>
          </a:solidFill>
          <a:ln cmpd="sng">
            <a:solidFill>
              <a:schemeClr val="tx1">
                <a:alpha val="12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7246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0" grpId="0" animBg="1"/>
      <p:bldP spid="2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Viabilidade Técnico-Financeir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latin typeface="Arial" charset="0"/>
                <a:ea typeface="Times New Roman" charset="0"/>
              </a:rPr>
              <a:t>Segundo as defini</a:t>
            </a:r>
            <a:r>
              <a:rPr lang="en-US" dirty="0" err="1">
                <a:latin typeface="Arial" charset="0"/>
                <a:ea typeface="Times New Roman" charset="0"/>
              </a:rPr>
              <a:t>ções</a:t>
            </a:r>
            <a:r>
              <a:rPr lang="en-US" dirty="0">
                <a:latin typeface="Arial" charset="0"/>
                <a:ea typeface="Times New Roman" charset="0"/>
              </a:rPr>
              <a:t> </a:t>
            </a:r>
            <a:r>
              <a:rPr lang="pt-BR" dirty="0">
                <a:latin typeface="Arial" charset="0"/>
                <a:ea typeface="Times New Roman" charset="0"/>
              </a:rPr>
              <a:t>de </a:t>
            </a:r>
            <a:r>
              <a:rPr lang="pt-BR" dirty="0" err="1">
                <a:latin typeface="Arial" charset="0"/>
                <a:ea typeface="Times New Roman" charset="0"/>
              </a:rPr>
              <a:t>Woiler</a:t>
            </a:r>
            <a:r>
              <a:rPr lang="pt-BR" dirty="0">
                <a:latin typeface="Arial" charset="0"/>
                <a:ea typeface="Times New Roman" charset="0"/>
              </a:rPr>
              <a:t> e Mathias (1996), o tempo de Recuperação dos Investimentos (método </a:t>
            </a:r>
            <a:r>
              <a:rPr lang="pt-BR" dirty="0" err="1">
                <a:latin typeface="Arial" charset="0"/>
                <a:ea typeface="Times New Roman" charset="0"/>
              </a:rPr>
              <a:t>payback</a:t>
            </a:r>
            <a:r>
              <a:rPr lang="pt-BR" dirty="0">
                <a:latin typeface="Arial" charset="0"/>
                <a:ea typeface="Times New Roman" charset="0"/>
              </a:rPr>
              <a:t>) é definido </a:t>
            </a:r>
            <a:r>
              <a:rPr lang="pt-BR" b="1" dirty="0">
                <a:latin typeface="Arial" charset="0"/>
                <a:ea typeface="Times New Roman" charset="0"/>
              </a:rPr>
              <a:t>como o prazo necessário para que os Investimentos sejam recuperados</a:t>
            </a:r>
            <a:r>
              <a:rPr lang="pt-BR" sz="2400" b="1" dirty="0" smtClean="0">
                <a:latin typeface="Arial" charset="0"/>
                <a:ea typeface="Times New Roman" charset="0"/>
              </a:rPr>
              <a:t>.</a:t>
            </a:r>
          </a:p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CaixaDeTexto 11"/>
          <p:cNvSpPr txBox="1"/>
          <p:nvPr/>
        </p:nvSpPr>
        <p:spPr>
          <a:xfrm>
            <a:off x="2616939" y="2564482"/>
            <a:ext cx="28191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/>
              <a:t>APLICANDO AO ESTADO PRESENTE DA EMPRESA</a:t>
            </a:r>
            <a:endParaRPr lang="pt-BR" sz="900" b="1" dirty="0"/>
          </a:p>
        </p:txBody>
      </p:sp>
      <p:cxnSp>
        <p:nvCxnSpPr>
          <p:cNvPr id="13" name="Conector de Seta Reta 12"/>
          <p:cNvCxnSpPr/>
          <p:nvPr/>
        </p:nvCxnSpPr>
        <p:spPr>
          <a:xfrm flipV="1">
            <a:off x="2830222" y="2791292"/>
            <a:ext cx="2392590" cy="5267"/>
          </a:xfrm>
          <a:prstGeom prst="straightConnector1">
            <a:avLst/>
          </a:prstGeom>
          <a:ln w="254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CaixaDeTexto 16"/>
          <p:cNvSpPr txBox="1"/>
          <p:nvPr/>
        </p:nvSpPr>
        <p:spPr>
          <a:xfrm>
            <a:off x="7719289" y="2560060"/>
            <a:ext cx="1101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/>
              <a:t>= 1,2x retorno do investimento</a:t>
            </a:r>
            <a:endParaRPr lang="pt-BR" sz="900" b="1" dirty="0"/>
          </a:p>
        </p:txBody>
      </p:sp>
      <p:sp>
        <p:nvSpPr>
          <p:cNvPr id="20" name="Retângulo 19"/>
          <p:cNvSpPr/>
          <p:nvPr/>
        </p:nvSpPr>
        <p:spPr>
          <a:xfrm>
            <a:off x="7711221" y="2565889"/>
            <a:ext cx="1078907" cy="363547"/>
          </a:xfrm>
          <a:prstGeom prst="rect">
            <a:avLst/>
          </a:prstGeom>
          <a:solidFill>
            <a:schemeClr val="accent6">
              <a:alpha val="30000"/>
            </a:schemeClr>
          </a:solidFill>
          <a:ln cmpd="sng">
            <a:solidFill>
              <a:schemeClr val="tx1">
                <a:alpha val="12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2" name="Imagem 21"/>
          <p:cNvPicPr/>
          <p:nvPr/>
        </p:nvPicPr>
        <p:blipFill rotWithShape="1">
          <a:blip r:embed="rId6"/>
          <a:srcRect l="16934" t="48091" r="63311" b="41330"/>
          <a:stretch/>
        </p:blipFill>
        <p:spPr bwMode="auto">
          <a:xfrm>
            <a:off x="291879" y="2400534"/>
            <a:ext cx="2367553" cy="9574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47841" y="2494999"/>
            <a:ext cx="2625189" cy="50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7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0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Viabilidade Técnico-Financeir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Imagem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5791" y="938014"/>
            <a:ext cx="8559389" cy="3672408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6233" y="1495672"/>
            <a:ext cx="6791533" cy="2341067"/>
          </a:xfrm>
          <a:prstGeom prst="rect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14390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nclusão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CaixaDeTexto 2"/>
          <p:cNvSpPr txBox="1"/>
          <p:nvPr/>
        </p:nvSpPr>
        <p:spPr>
          <a:xfrm>
            <a:off x="1331640" y="1082030"/>
            <a:ext cx="698477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 partir dos resultados encontrados nos ensaios de caracterização e análise dos parâmetros de qualidade da água, constatou-se que a água utilizada no sistema de resfriamento possui concentrações elevadas de compostos contendo carbonato de cálcio (CaCO3) e óxido de silício (SiO2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iante do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enário exposto materiais encrustados (sais), sistemas de soluções e indicadores de investimentos,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fica identificado que a aquisição do sistema Vulcan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como uma  opção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sistema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para resolução da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roblemátic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encontrada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172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614835" y="2522190"/>
            <a:ext cx="5347097" cy="53407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BRIGADO!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CaixaDeTexto 5"/>
          <p:cNvSpPr txBox="1"/>
          <p:nvPr/>
        </p:nvSpPr>
        <p:spPr>
          <a:xfrm>
            <a:off x="1403648" y="1154039"/>
            <a:ext cx="56166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“Se </a:t>
            </a:r>
            <a:r>
              <a:rPr lang="pt-BR" i="1" dirty="0">
                <a:latin typeface="Arial" panose="020B0604020202020204" pitchFamily="34" charset="0"/>
                <a:cs typeface="Arial" panose="020B0604020202020204" pitchFamily="34" charset="0"/>
              </a:rPr>
              <a:t>eu vi mais longe, foi por estar sobre ombros de 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gigantes” </a:t>
            </a:r>
          </a:p>
          <a:p>
            <a:r>
              <a:rPr lang="pt-BR" i="1" dirty="0"/>
              <a:t>	</a:t>
            </a:r>
            <a:r>
              <a:rPr lang="pt-BR" i="1" dirty="0" smtClean="0"/>
              <a:t>			</a:t>
            </a:r>
            <a:r>
              <a:rPr lang="pt-BR" i="1" dirty="0" smtClean="0">
                <a:latin typeface="Arial" panose="020B0604020202020204" pitchFamily="34" charset="0"/>
                <a:cs typeface="Arial" panose="020B0604020202020204" pitchFamily="34" charset="0"/>
              </a:rPr>
              <a:t>Isaac Newton</a:t>
            </a:r>
            <a:endParaRPr lang="pt-BR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38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75656" y="-86358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ferencias </a:t>
            </a:r>
            <a:endParaRPr lang="pt-BR" altLang="pt-BR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CaixaDeTexto 2"/>
          <p:cNvSpPr txBox="1"/>
          <p:nvPr/>
        </p:nvSpPr>
        <p:spPr>
          <a:xfrm>
            <a:off x="1129387" y="938014"/>
            <a:ext cx="6957555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LEICHER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, L; SASAKI, J.M.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Introdução à Difração de Raios-X em Cristais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Ceará. Universidade Federal do Ceará, 2000. Disponível em http://www.raiosx.ufc.br/site/wp-content/uploads/downloads/2013/01/apostila.pdf.  Acesso em: Junho de 2019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CAVAZZANA, G.H.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Análise da </a:t>
            </a:r>
            <a:r>
              <a:rPr lang="pt-BR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Corrosividade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 e Incrustação das Águas Subterrâneas na Região Urbana de Campo Grande 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– MS. Mato Grosso do Sul. Universidade Federal de Mato Grosso do Sul, 2011. Disponível em: https://repositorio.ufms.br:8443/jspui/bitstream/123456789/2195/1/Guilherme%20Henrique%20Cavazzana.pdf. Acesso em: Agosto de 2019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/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Carla </a:t>
            </a:r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Elieze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 LEIDENS, Mauro Alberto NUSKE; Douglas FAORO; </a:t>
            </a:r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Jocias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 Maier 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ZANATTA.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ESTUDO DE VIABILIDADE ECONÔMICA E FINANCEIRA ENTREAQUISIÇÃO DE MÁQUINA OU TERCEIRIZAÇÃO: estudo de caso em uma indústria de confecções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2016. Trabalho de conclusão de curso. Universidade Federal de Santa Maria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GITMAN, L. J.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Princípios de Administração Financeira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10ª edição, São Paulo: </a:t>
            </a:r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Harbra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07.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WASSERTECHNIK, </a:t>
            </a:r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Christiani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1200" b="1" dirty="0">
                <a:latin typeface="Arial" panose="020B0604020202020204" pitchFamily="34" charset="0"/>
                <a:cs typeface="Arial" panose="020B0604020202020204" pitchFamily="34" charset="0"/>
              </a:rPr>
              <a:t>Vulcan </a:t>
            </a:r>
            <a:r>
              <a:rPr lang="pt-BR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Descaler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Disponível em https://www.cwt-international.com/cwt/pt/vulcan-descaler/como-funciona.html.  Acesso em: Junho de 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19.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78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 txBox="1">
            <a:spLocks/>
          </p:cNvSpPr>
          <p:nvPr/>
        </p:nvSpPr>
        <p:spPr>
          <a:xfrm>
            <a:off x="1403648" y="295933"/>
            <a:ext cx="5347097" cy="750094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800" dirty="0">
                <a:latin typeface="Arial" panose="020B0604020202020204" pitchFamily="34" charset="0"/>
                <a:cs typeface="Arial" panose="020B0604020202020204" pitchFamily="34" charset="0"/>
              </a:rPr>
              <a:t>A equipe do </a:t>
            </a:r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rojeto agradece:</a:t>
            </a:r>
            <a:endParaRPr lang="pt-BR" altLang="pt-BR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019377" y="1154039"/>
            <a:ext cx="751306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400" b="1" dirty="0">
              <a:latin typeface="Arial" charset="0"/>
            </a:endParaRPr>
          </a:p>
          <a:p>
            <a:endParaRPr lang="pt-BR" sz="2400" b="1" dirty="0" smtClean="0">
              <a:latin typeface="Arial" charset="0"/>
            </a:endParaRPr>
          </a:p>
          <a:p>
            <a:r>
              <a:rPr lang="pt-BR" sz="2400" b="1" dirty="0" smtClean="0"/>
              <a:t> </a:t>
            </a:r>
            <a:endParaRPr lang="pt-BR" sz="2400" b="1" dirty="0"/>
          </a:p>
          <a:p>
            <a:endParaRPr lang="pt-BR" sz="24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90689" y="4793258"/>
            <a:ext cx="2062988" cy="291704"/>
            <a:chOff x="90689" y="4793258"/>
            <a:chExt cx="2062988" cy="291704"/>
          </a:xfrm>
        </p:grpSpPr>
        <p:pic>
          <p:nvPicPr>
            <p:cNvPr id="9" name="Picture 5" descr="http://www.brazil.fraunhofer.com/content/dam/brazil/en/images/logo-fraunhofer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2837" y="4858146"/>
              <a:ext cx="1010840" cy="161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Imagem 5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689" y="4793258"/>
              <a:ext cx="928688" cy="29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CaixaDeTexto 2"/>
          <p:cNvSpPr txBox="1"/>
          <p:nvPr/>
        </p:nvSpPr>
        <p:spPr>
          <a:xfrm>
            <a:off x="1129387" y="938014"/>
            <a:ext cx="6957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1129387" y="938014"/>
            <a:ext cx="695755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imeiramente à Deus por nos suportar nas horas difíceis.</a:t>
            </a: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os nossos familiares e amigos que acreditaram e nos deram palavras de incentivo para continuarmos prosseguindo.</a:t>
            </a: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Profº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 Orientador: </a:t>
            </a:r>
            <a:r>
              <a:rPr lang="pt-BR" sz="1200" dirty="0" err="1"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pt-BR" sz="1200" dirty="0">
                <a:latin typeface="Arial" panose="020B0604020202020204" pitchFamily="34" charset="0"/>
                <a:cs typeface="Arial" panose="020B0604020202020204" pitchFamily="34" charset="0"/>
              </a:rPr>
              <a:t>. Moisés 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erreira, que caminhou lado a lado conosco, com sua experiência e observações importantíssimas, fazendo este trabalho possível.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o SENAI CIMATEC, por nos capacitar e nos dar a oportunidade de melhorarmos como pessoas e, agora, profissionais.</a:t>
            </a: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rmoverde</a:t>
            </a:r>
            <a:r>
              <a:rPr lang="pt-B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por disponibilizar tempo, paciência e oportunidade de realizarmos este trabalho em suas dependências.</a:t>
            </a:r>
          </a:p>
          <a:p>
            <a:endParaRPr lang="pt-B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653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>
                <a:latin typeface="Arial" panose="020B0604020202020204" pitchFamily="34" charset="0"/>
                <a:cs typeface="Arial" panose="020B0604020202020204" pitchFamily="34" charset="0"/>
              </a:rPr>
              <a:t>TERMOVERDE SALVADOR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755576" y="1185084"/>
            <a:ext cx="367240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Localização</a:t>
            </a:r>
            <a:r>
              <a:rPr lang="pt-BR" sz="2400" dirty="0">
                <a:latin typeface="Arial" pitchFamily="34" charset="0"/>
                <a:cs typeface="Arial" pitchFamily="34" charset="0"/>
              </a:rPr>
              <a:t>: Aterro Metropolitano Centro (AMC), Km 6,5 BA-526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>
                <a:latin typeface="Arial" pitchFamily="34" charset="0"/>
                <a:cs typeface="Arial" pitchFamily="34" charset="0"/>
              </a:rPr>
              <a:t>Setor</a:t>
            </a:r>
            <a:r>
              <a:rPr lang="pt-BR" sz="2400" dirty="0">
                <a:latin typeface="Arial" pitchFamily="34" charset="0"/>
                <a:cs typeface="Arial" pitchFamily="34" charset="0"/>
              </a:rPr>
              <a:t>: Energi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" name="Imagem 1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500" y="1802110"/>
            <a:ext cx="3600400" cy="22322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3739" y="990828"/>
            <a:ext cx="2419923" cy="71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14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ETAPAS DO PROCESSO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ixaDeTexto 18"/>
          <p:cNvSpPr txBox="1"/>
          <p:nvPr/>
        </p:nvSpPr>
        <p:spPr>
          <a:xfrm>
            <a:off x="755576" y="1128911"/>
            <a:ext cx="50405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Captação do biogás presente no maciço;</a:t>
            </a:r>
          </a:p>
          <a:p>
            <a:pPr algn="just"/>
            <a:r>
              <a:rPr lang="pt-BR" sz="2400" dirty="0">
                <a:latin typeface="Arial" pitchFamily="34" charset="0"/>
                <a:cs typeface="Arial" pitchFamily="34" charset="0"/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Retirada do material particulado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Resfriamento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dirty="0">
                <a:latin typeface="Arial" pitchFamily="34" charset="0"/>
                <a:cs typeface="Arial" pitchFamily="34" charset="0"/>
              </a:rPr>
              <a:t>Queim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257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377" y="721991"/>
            <a:ext cx="6076455" cy="4136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PRESENTAÇÃO DO SISTEMA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213" y="1514078"/>
            <a:ext cx="2163394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335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PRESENTAÇÃO DO SISTEMA DE RESFRIAMENTO - CHILLER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75" y="1550868"/>
            <a:ext cx="6144973" cy="2889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032" y="1550868"/>
            <a:ext cx="2016592" cy="1166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89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PRESENTAÇÃO DO SISTEMA DE RESFRIAMENTO - </a:t>
            </a:r>
            <a:r>
              <a:rPr lang="pt-BR" alt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ROCADOR</a:t>
            </a:r>
            <a:endParaRPr lang="pt-BR" altLang="pt-B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033" y="1946126"/>
            <a:ext cx="7021984" cy="2318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1586086"/>
            <a:ext cx="2128262" cy="1172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3928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1116301" y="145926"/>
            <a:ext cx="51994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ONTEXTUALIZAÇÃO DO PROBLEMA - INCRUSTAÇÕES</a:t>
            </a:r>
          </a:p>
        </p:txBody>
      </p:sp>
      <p:pic>
        <p:nvPicPr>
          <p:cNvPr id="13" name="Picture 5" descr="http://www.brazil.fraunhofer.com/content/dam/brazil/en/images/logo-fraunhof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37" y="4858146"/>
            <a:ext cx="101084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89" y="4793258"/>
            <a:ext cx="928688" cy="29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m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586086"/>
            <a:ext cx="2696604" cy="27423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Imagem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065" y="1585247"/>
            <a:ext cx="2696400" cy="27432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3410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cff4ab3-0a1b-4f2f-b00e-5bec78b07bab"/>
</p:tagLst>
</file>

<file path=ppt/theme/theme1.xml><?xml version="1.0" encoding="utf-8"?>
<a:theme xmlns:a="http://schemas.openxmlformats.org/drawingml/2006/main" name="1_Tema do Office">
  <a:themeElements>
    <a:clrScheme name="Personalizada 1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000000"/>
      </a:hlink>
      <a:folHlink>
        <a:srgbClr val="000000"/>
      </a:folHlink>
    </a:clrScheme>
    <a:fontScheme name="Ver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3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4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5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6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7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8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ppt/theme/themeOverride9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69676D"/>
    </a:dk2>
    <a:lt2>
      <a:srgbClr val="C9C2D1"/>
    </a:lt2>
    <a:accent1>
      <a:srgbClr val="CEB966"/>
    </a:accent1>
    <a:accent2>
      <a:srgbClr val="9CB084"/>
    </a:accent2>
    <a:accent3>
      <a:srgbClr val="6BB1C9"/>
    </a:accent3>
    <a:accent4>
      <a:srgbClr val="6585CF"/>
    </a:accent4>
    <a:accent5>
      <a:srgbClr val="7E6BC9"/>
    </a:accent5>
    <a:accent6>
      <a:srgbClr val="A379BB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90</TotalTime>
  <Words>1285</Words>
  <Application>Microsoft Office PowerPoint</Application>
  <PresentationFormat>Personalizar</PresentationFormat>
  <Paragraphs>332</Paragraphs>
  <Slides>39</Slides>
  <Notes>37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39</vt:i4>
      </vt:variant>
    </vt:vector>
  </HeadingPairs>
  <TitlesOfParts>
    <vt:vector size="40" baseType="lpstr">
      <vt:lpstr>1_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</dc:title>
  <dc:creator>Alice Marie Charlotte Joannon</dc:creator>
  <cp:lastModifiedBy>Victor</cp:lastModifiedBy>
  <cp:revision>716</cp:revision>
  <dcterms:created xsi:type="dcterms:W3CDTF">2014-01-21T14:06:55Z</dcterms:created>
  <dcterms:modified xsi:type="dcterms:W3CDTF">2019-12-11T04:18:36Z</dcterms:modified>
</cp:coreProperties>
</file>